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28"/>
  </p:notesMasterIdLst>
  <p:handoutMasterIdLst>
    <p:handoutMasterId r:id="rId29"/>
  </p:handoutMasterIdLst>
  <p:sldIdLst>
    <p:sldId id="265" r:id="rId6"/>
    <p:sldId id="287" r:id="rId7"/>
    <p:sldId id="286" r:id="rId8"/>
    <p:sldId id="290" r:id="rId9"/>
    <p:sldId id="269" r:id="rId10"/>
    <p:sldId id="291" r:id="rId11"/>
    <p:sldId id="271" r:id="rId12"/>
    <p:sldId id="260" r:id="rId13"/>
    <p:sldId id="259" r:id="rId14"/>
    <p:sldId id="272" r:id="rId15"/>
    <p:sldId id="289" r:id="rId16"/>
    <p:sldId id="277" r:id="rId17"/>
    <p:sldId id="273" r:id="rId18"/>
    <p:sldId id="262" r:id="rId19"/>
    <p:sldId id="263" r:id="rId20"/>
    <p:sldId id="292" r:id="rId21"/>
    <p:sldId id="276" r:id="rId22"/>
    <p:sldId id="296" r:id="rId23"/>
    <p:sldId id="284" r:id="rId24"/>
    <p:sldId id="295" r:id="rId25"/>
    <p:sldId id="280" r:id="rId26"/>
    <p:sldId id="294" r:id="rId27"/>
  </p:sldIdLst>
  <p:sldSz cx="12192000" cy="6858000"/>
  <p:notesSz cx="6858000" cy="9144000"/>
  <p:custDataLst>
    <p:tags r:id="rId3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EF3652-0D59-4C4F-8C7C-2EE8750FAD85}" v="1" dt="2022-10-21T11:32:56.7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69" autoAdjust="0"/>
    <p:restoredTop sz="90491" autoAdjust="0"/>
  </p:normalViewPr>
  <p:slideViewPr>
    <p:cSldViewPr snapToGrid="0">
      <p:cViewPr varScale="1">
        <p:scale>
          <a:sx n="57" d="100"/>
          <a:sy n="57" d="100"/>
        </p:scale>
        <p:origin x="9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kael Stenstrand" userId="f46e7c30-6f94-4f77-97d0-1ebee2f2f480" providerId="ADAL" clId="{61EF3652-0D59-4C4F-8C7C-2EE8750FAD85}"/>
    <pc:docChg chg="undo custSel modSld">
      <pc:chgData name="Mikael Stenstrand" userId="f46e7c30-6f94-4f77-97d0-1ebee2f2f480" providerId="ADAL" clId="{61EF3652-0D59-4C4F-8C7C-2EE8750FAD85}" dt="2022-10-21T11:40:45.142" v="160" actId="404"/>
      <pc:docMkLst>
        <pc:docMk/>
      </pc:docMkLst>
      <pc:sldChg chg="delSp modSp mod">
        <pc:chgData name="Mikael Stenstrand" userId="f46e7c30-6f94-4f77-97d0-1ebee2f2f480" providerId="ADAL" clId="{61EF3652-0D59-4C4F-8C7C-2EE8750FAD85}" dt="2022-10-21T11:31:58.789" v="108" actId="478"/>
        <pc:sldMkLst>
          <pc:docMk/>
          <pc:sldMk cId="1119405138" sldId="259"/>
        </pc:sldMkLst>
        <pc:spChg chg="del">
          <ac:chgData name="Mikael Stenstrand" userId="f46e7c30-6f94-4f77-97d0-1ebee2f2f480" providerId="ADAL" clId="{61EF3652-0D59-4C4F-8C7C-2EE8750FAD85}" dt="2022-10-21T11:31:58.789" v="108" actId="478"/>
          <ac:spMkLst>
            <pc:docMk/>
            <pc:sldMk cId="1119405138" sldId="259"/>
            <ac:spMk id="9" creationId="{38DAB7E6-D260-2F84-C5DC-BA77D3D42586}"/>
          </ac:spMkLst>
        </pc:spChg>
        <pc:spChg chg="mod">
          <ac:chgData name="Mikael Stenstrand" userId="f46e7c30-6f94-4f77-97d0-1ebee2f2f480" providerId="ADAL" clId="{61EF3652-0D59-4C4F-8C7C-2EE8750FAD85}" dt="2022-10-21T11:30:41.050" v="94" actId="20577"/>
          <ac:spMkLst>
            <pc:docMk/>
            <pc:sldMk cId="1119405138" sldId="259"/>
            <ac:spMk id="29" creationId="{DD8C4BEE-7F0B-438E-A43A-161FF0E3A92E}"/>
          </ac:spMkLst>
        </pc:spChg>
      </pc:sldChg>
      <pc:sldChg chg="delSp modSp mod">
        <pc:chgData name="Mikael Stenstrand" userId="f46e7c30-6f94-4f77-97d0-1ebee2f2f480" providerId="ADAL" clId="{61EF3652-0D59-4C4F-8C7C-2EE8750FAD85}" dt="2022-10-21T11:40:18.683" v="158" actId="478"/>
        <pc:sldMkLst>
          <pc:docMk/>
          <pc:sldMk cId="719549401" sldId="262"/>
        </pc:sldMkLst>
        <pc:spChg chg="del">
          <ac:chgData name="Mikael Stenstrand" userId="f46e7c30-6f94-4f77-97d0-1ebee2f2f480" providerId="ADAL" clId="{61EF3652-0D59-4C4F-8C7C-2EE8750FAD85}" dt="2022-10-21T11:40:18.683" v="158" actId="478"/>
          <ac:spMkLst>
            <pc:docMk/>
            <pc:sldMk cId="719549401" sldId="262"/>
            <ac:spMk id="6" creationId="{01F77448-64CF-4386-8406-839026FD8FC9}"/>
          </ac:spMkLst>
        </pc:spChg>
        <pc:spChg chg="mod">
          <ac:chgData name="Mikael Stenstrand" userId="f46e7c30-6f94-4f77-97d0-1ebee2f2f480" providerId="ADAL" clId="{61EF3652-0D59-4C4F-8C7C-2EE8750FAD85}" dt="2022-10-21T11:40:09.348" v="156" actId="207"/>
          <ac:spMkLst>
            <pc:docMk/>
            <pc:sldMk cId="719549401" sldId="262"/>
            <ac:spMk id="8" creationId="{4FCC5333-BE59-3F39-E5C7-019BE23A5C08}"/>
          </ac:spMkLst>
        </pc:spChg>
        <pc:spChg chg="del">
          <ac:chgData name="Mikael Stenstrand" userId="f46e7c30-6f94-4f77-97d0-1ebee2f2f480" providerId="ADAL" clId="{61EF3652-0D59-4C4F-8C7C-2EE8750FAD85}" dt="2022-10-21T11:33:35.293" v="129" actId="478"/>
          <ac:spMkLst>
            <pc:docMk/>
            <pc:sldMk cId="719549401" sldId="262"/>
            <ac:spMk id="12" creationId="{6E6DAD90-F06C-51F9-29EF-BF49A2CB582F}"/>
          </ac:spMkLst>
        </pc:spChg>
        <pc:spChg chg="mod">
          <ac:chgData name="Mikael Stenstrand" userId="f46e7c30-6f94-4f77-97d0-1ebee2f2f480" providerId="ADAL" clId="{61EF3652-0D59-4C4F-8C7C-2EE8750FAD85}" dt="2022-10-21T11:40:13.240" v="157" actId="207"/>
          <ac:spMkLst>
            <pc:docMk/>
            <pc:sldMk cId="719549401" sldId="262"/>
            <ac:spMk id="19" creationId="{4F42CCD4-CA67-7C16-63A1-CDC2BEA33CB9}"/>
          </ac:spMkLst>
        </pc:spChg>
      </pc:sldChg>
      <pc:sldChg chg="delSp mod">
        <pc:chgData name="Mikael Stenstrand" userId="f46e7c30-6f94-4f77-97d0-1ebee2f2f480" providerId="ADAL" clId="{61EF3652-0D59-4C4F-8C7C-2EE8750FAD85}" dt="2022-10-21T11:33:54.461" v="130" actId="478"/>
        <pc:sldMkLst>
          <pc:docMk/>
          <pc:sldMk cId="2254339292" sldId="263"/>
        </pc:sldMkLst>
        <pc:spChg chg="del">
          <ac:chgData name="Mikael Stenstrand" userId="f46e7c30-6f94-4f77-97d0-1ebee2f2f480" providerId="ADAL" clId="{61EF3652-0D59-4C4F-8C7C-2EE8750FAD85}" dt="2022-10-21T11:33:54.461" v="130" actId="478"/>
          <ac:spMkLst>
            <pc:docMk/>
            <pc:sldMk cId="2254339292" sldId="263"/>
            <ac:spMk id="5" creationId="{3CB5E92B-082A-1422-A523-9478A91845FA}"/>
          </ac:spMkLst>
        </pc:spChg>
      </pc:sldChg>
      <pc:sldChg chg="delSp modSp mod">
        <pc:chgData name="Mikael Stenstrand" userId="f46e7c30-6f94-4f77-97d0-1ebee2f2f480" providerId="ADAL" clId="{61EF3652-0D59-4C4F-8C7C-2EE8750FAD85}" dt="2022-10-21T11:31:03.330" v="105" actId="20577"/>
        <pc:sldMkLst>
          <pc:docMk/>
          <pc:sldMk cId="1919552787" sldId="269"/>
        </pc:sldMkLst>
        <pc:spChg chg="mod">
          <ac:chgData name="Mikael Stenstrand" userId="f46e7c30-6f94-4f77-97d0-1ebee2f2f480" providerId="ADAL" clId="{61EF3652-0D59-4C4F-8C7C-2EE8750FAD85}" dt="2022-10-21T11:25:42.610" v="45" actId="20577"/>
          <ac:spMkLst>
            <pc:docMk/>
            <pc:sldMk cId="1919552787" sldId="269"/>
            <ac:spMk id="5" creationId="{8978CE9F-44FE-390C-42D2-151889018FE8}"/>
          </ac:spMkLst>
        </pc:spChg>
        <pc:spChg chg="del">
          <ac:chgData name="Mikael Stenstrand" userId="f46e7c30-6f94-4f77-97d0-1ebee2f2f480" providerId="ADAL" clId="{61EF3652-0D59-4C4F-8C7C-2EE8750FAD85}" dt="2022-10-21T11:25:11.371" v="1" actId="478"/>
          <ac:spMkLst>
            <pc:docMk/>
            <pc:sldMk cId="1919552787" sldId="269"/>
            <ac:spMk id="9" creationId="{1C023929-8740-8B81-EFE5-43FE749C8EB8}"/>
          </ac:spMkLst>
        </pc:spChg>
        <pc:spChg chg="mod">
          <ac:chgData name="Mikael Stenstrand" userId="f46e7c30-6f94-4f77-97d0-1ebee2f2f480" providerId="ADAL" clId="{61EF3652-0D59-4C4F-8C7C-2EE8750FAD85}" dt="2022-10-21T11:31:03.330" v="105" actId="20577"/>
          <ac:spMkLst>
            <pc:docMk/>
            <pc:sldMk cId="1919552787" sldId="269"/>
            <ac:spMk id="21" creationId="{3E0FFD61-48A6-4B7A-BD67-7DC59845871C}"/>
          </ac:spMkLst>
        </pc:spChg>
      </pc:sldChg>
      <pc:sldChg chg="modSp mod">
        <pc:chgData name="Mikael Stenstrand" userId="f46e7c30-6f94-4f77-97d0-1ebee2f2f480" providerId="ADAL" clId="{61EF3652-0D59-4C4F-8C7C-2EE8750FAD85}" dt="2022-10-21T11:29:33.625" v="82" actId="20577"/>
        <pc:sldMkLst>
          <pc:docMk/>
          <pc:sldMk cId="1859362012" sldId="271"/>
        </pc:sldMkLst>
        <pc:spChg chg="mod">
          <ac:chgData name="Mikael Stenstrand" userId="f46e7c30-6f94-4f77-97d0-1ebee2f2f480" providerId="ADAL" clId="{61EF3652-0D59-4C4F-8C7C-2EE8750FAD85}" dt="2022-10-21T11:29:33.625" v="82" actId="20577"/>
          <ac:spMkLst>
            <pc:docMk/>
            <pc:sldMk cId="1859362012" sldId="271"/>
            <ac:spMk id="5" creationId="{00000000-0000-0000-0000-000000000000}"/>
          </ac:spMkLst>
        </pc:spChg>
      </pc:sldChg>
      <pc:sldChg chg="delSp mod">
        <pc:chgData name="Mikael Stenstrand" userId="f46e7c30-6f94-4f77-97d0-1ebee2f2f480" providerId="ADAL" clId="{61EF3652-0D59-4C4F-8C7C-2EE8750FAD85}" dt="2022-10-21T11:32:01.578" v="109" actId="478"/>
        <pc:sldMkLst>
          <pc:docMk/>
          <pc:sldMk cId="3348951302" sldId="272"/>
        </pc:sldMkLst>
        <pc:spChg chg="del">
          <ac:chgData name="Mikael Stenstrand" userId="f46e7c30-6f94-4f77-97d0-1ebee2f2f480" providerId="ADAL" clId="{61EF3652-0D59-4C4F-8C7C-2EE8750FAD85}" dt="2022-10-21T11:32:01.578" v="109" actId="478"/>
          <ac:spMkLst>
            <pc:docMk/>
            <pc:sldMk cId="3348951302" sldId="272"/>
            <ac:spMk id="17" creationId="{CE897068-EA9C-7FB4-8858-F8770FA52929}"/>
          </ac:spMkLst>
        </pc:spChg>
      </pc:sldChg>
      <pc:sldChg chg="addSp delSp modSp mod">
        <pc:chgData name="Mikael Stenstrand" userId="f46e7c30-6f94-4f77-97d0-1ebee2f2f480" providerId="ADAL" clId="{61EF3652-0D59-4C4F-8C7C-2EE8750FAD85}" dt="2022-10-21T11:33:17.341" v="128" actId="1037"/>
        <pc:sldMkLst>
          <pc:docMk/>
          <pc:sldMk cId="274823243" sldId="273"/>
        </pc:sldMkLst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8" creationId="{D01AC4DB-4D84-7F30-2B3E-B0AB98DC13B4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13" creationId="{ADCA01F5-7341-7E2D-BF79-9905DCC61FBA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14" creationId="{2D2DCEBA-DB5A-887C-27A8-54CBFCF292DC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16" creationId="{5E609804-F410-EA34-2E88-9396C8F265D9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21" creationId="{FE9F5703-D1D9-810A-35B1-D5A709D82BAE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27" creationId="{621AA2FE-D55C-3270-CED3-46782D9B1D50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32" creationId="{7D07C03C-F87F-02FA-8E39-5DADF2886882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33" creationId="{C0F62581-1CFD-43F8-F3D1-4C465FD5E36F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68" creationId="{429846D4-82E1-8756-BD41-6B2DE3D81C7E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69" creationId="{1A2169B3-8D40-91F1-8F3B-4E0E56D0ACB3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70" creationId="{2B840E80-8B8D-56C0-FF62-091B3E1BA6A6}"/>
          </ac:spMkLst>
        </pc:spChg>
        <pc:spChg chg="del">
          <ac:chgData name="Mikael Stenstrand" userId="f46e7c30-6f94-4f77-97d0-1ebee2f2f480" providerId="ADAL" clId="{61EF3652-0D59-4C4F-8C7C-2EE8750FAD85}" dt="2022-10-21T11:32:54.146" v="111" actId="478"/>
          <ac:spMkLst>
            <pc:docMk/>
            <pc:sldMk cId="274823243" sldId="273"/>
            <ac:spMk id="71" creationId="{024E340A-5F7F-9EDE-74CC-27315EB36FC7}"/>
          </ac:spMkLst>
        </pc:spChg>
        <pc:picChg chg="add mod">
          <ac:chgData name="Mikael Stenstrand" userId="f46e7c30-6f94-4f77-97d0-1ebee2f2f480" providerId="ADAL" clId="{61EF3652-0D59-4C4F-8C7C-2EE8750FAD85}" dt="2022-10-21T11:33:17.341" v="128" actId="1037"/>
          <ac:picMkLst>
            <pc:docMk/>
            <pc:sldMk cId="274823243" sldId="273"/>
            <ac:picMk id="2" creationId="{629A717C-343C-7E80-CD31-0E7915FA56DD}"/>
          </ac:picMkLst>
        </pc:pic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17" creationId="{B0238DE7-4A2F-09D4-3D5E-0500A4F31E4E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23" creationId="{85145310-26C5-1B65-4D23-566183CDA901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29" creationId="{B9D17FD9-89D5-13A6-34AD-2598B63B284E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48" creationId="{93B4D866-3A25-24EE-E34A-BA3CF90C54CB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52" creationId="{33E09E90-6A2C-AE6A-BC71-BCFE29BD61BA}"/>
          </ac:cxnSpMkLst>
        </pc:cxnChg>
        <pc:cxnChg chg="del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58" creationId="{2A0FB2C3-B417-D67E-64DD-F82C29E0A0A5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64" creationId="{9D03EFAE-E34D-B7AF-5F0D-471C3BEAC4FC}"/>
          </ac:cxnSpMkLst>
        </pc:cxnChg>
        <pc:cxnChg chg="del mod">
          <ac:chgData name="Mikael Stenstrand" userId="f46e7c30-6f94-4f77-97d0-1ebee2f2f480" providerId="ADAL" clId="{61EF3652-0D59-4C4F-8C7C-2EE8750FAD85}" dt="2022-10-21T11:32:54.146" v="111" actId="478"/>
          <ac:cxnSpMkLst>
            <pc:docMk/>
            <pc:sldMk cId="274823243" sldId="273"/>
            <ac:cxnSpMk id="75" creationId="{CC75ADC6-AC1F-4390-96A9-A1E63B659849}"/>
          </ac:cxnSpMkLst>
        </pc:cxnChg>
      </pc:sldChg>
      <pc:sldChg chg="delSp modSp mod">
        <pc:chgData name="Mikael Stenstrand" userId="f46e7c30-6f94-4f77-97d0-1ebee2f2f480" providerId="ADAL" clId="{61EF3652-0D59-4C4F-8C7C-2EE8750FAD85}" dt="2022-10-21T11:40:40.431" v="159" actId="404"/>
        <pc:sldMkLst>
          <pc:docMk/>
          <pc:sldMk cId="2656784730" sldId="276"/>
        </pc:sldMkLst>
        <pc:spChg chg="mod">
          <ac:chgData name="Mikael Stenstrand" userId="f46e7c30-6f94-4f77-97d0-1ebee2f2f480" providerId="ADAL" clId="{61EF3652-0D59-4C4F-8C7C-2EE8750FAD85}" dt="2022-10-21T11:35:14.610" v="151" actId="20577"/>
          <ac:spMkLst>
            <pc:docMk/>
            <pc:sldMk cId="2656784730" sldId="276"/>
            <ac:spMk id="2" creationId="{2D99F76A-BE0A-4578-809C-BF0E5E1ADB5A}"/>
          </ac:spMkLst>
        </pc:spChg>
        <pc:spChg chg="del">
          <ac:chgData name="Mikael Stenstrand" userId="f46e7c30-6f94-4f77-97d0-1ebee2f2f480" providerId="ADAL" clId="{61EF3652-0D59-4C4F-8C7C-2EE8750FAD85}" dt="2022-10-21T11:34:52.757" v="132" actId="478"/>
          <ac:spMkLst>
            <pc:docMk/>
            <pc:sldMk cId="2656784730" sldId="276"/>
            <ac:spMk id="7" creationId="{01F77448-64CF-4386-8406-839026FD8FC9}"/>
          </ac:spMkLst>
        </pc:spChg>
        <pc:spChg chg="del">
          <ac:chgData name="Mikael Stenstrand" userId="f46e7c30-6f94-4f77-97d0-1ebee2f2f480" providerId="ADAL" clId="{61EF3652-0D59-4C4F-8C7C-2EE8750FAD85}" dt="2022-10-21T11:34:41.131" v="131" actId="478"/>
          <ac:spMkLst>
            <pc:docMk/>
            <pc:sldMk cId="2656784730" sldId="276"/>
            <ac:spMk id="8" creationId="{F767059E-4CF2-77FE-DD89-CE64861C494B}"/>
          </ac:spMkLst>
        </pc:spChg>
        <pc:graphicFrameChg chg="modGraphic">
          <ac:chgData name="Mikael Stenstrand" userId="f46e7c30-6f94-4f77-97d0-1ebee2f2f480" providerId="ADAL" clId="{61EF3652-0D59-4C4F-8C7C-2EE8750FAD85}" dt="2022-10-21T11:40:40.431" v="159" actId="404"/>
          <ac:graphicFrameMkLst>
            <pc:docMk/>
            <pc:sldMk cId="2656784730" sldId="276"/>
            <ac:graphicFrameMk id="6" creationId="{C7B166F5-64E0-4B0E-B230-0D996B257C55}"/>
          </ac:graphicFrameMkLst>
        </pc:graphicFrameChg>
      </pc:sldChg>
      <pc:sldChg chg="delSp mod">
        <pc:chgData name="Mikael Stenstrand" userId="f46e7c30-6f94-4f77-97d0-1ebee2f2f480" providerId="ADAL" clId="{61EF3652-0D59-4C4F-8C7C-2EE8750FAD85}" dt="2022-10-21T11:32:04.977" v="110" actId="478"/>
        <pc:sldMkLst>
          <pc:docMk/>
          <pc:sldMk cId="4056409131" sldId="277"/>
        </pc:sldMkLst>
        <pc:spChg chg="del">
          <ac:chgData name="Mikael Stenstrand" userId="f46e7c30-6f94-4f77-97d0-1ebee2f2f480" providerId="ADAL" clId="{61EF3652-0D59-4C4F-8C7C-2EE8750FAD85}" dt="2022-10-21T11:32:04.977" v="110" actId="478"/>
          <ac:spMkLst>
            <pc:docMk/>
            <pc:sldMk cId="4056409131" sldId="277"/>
            <ac:spMk id="8" creationId="{A2C3AA3D-DF97-F5C0-6C27-C4C2582E948C}"/>
          </ac:spMkLst>
        </pc:spChg>
      </pc:sldChg>
      <pc:sldChg chg="modSp mod">
        <pc:chgData name="Mikael Stenstrand" userId="f46e7c30-6f94-4f77-97d0-1ebee2f2f480" providerId="ADAL" clId="{61EF3652-0D59-4C4F-8C7C-2EE8750FAD85}" dt="2022-10-21T11:31:50.523" v="107" actId="20577"/>
        <pc:sldMkLst>
          <pc:docMk/>
          <pc:sldMk cId="1570241215" sldId="289"/>
        </pc:sldMkLst>
        <pc:spChg chg="mod">
          <ac:chgData name="Mikael Stenstrand" userId="f46e7c30-6f94-4f77-97d0-1ebee2f2f480" providerId="ADAL" clId="{61EF3652-0D59-4C4F-8C7C-2EE8750FAD85}" dt="2022-10-21T11:31:50.523" v="107" actId="20577"/>
          <ac:spMkLst>
            <pc:docMk/>
            <pc:sldMk cId="1570241215" sldId="289"/>
            <ac:spMk id="5" creationId="{00000000-0000-0000-0000-000000000000}"/>
          </ac:spMkLst>
        </pc:spChg>
      </pc:sldChg>
      <pc:sldChg chg="delSp mod">
        <pc:chgData name="Mikael Stenstrand" userId="f46e7c30-6f94-4f77-97d0-1ebee2f2f480" providerId="ADAL" clId="{61EF3652-0D59-4C4F-8C7C-2EE8750FAD85}" dt="2022-10-21T11:24:53.924" v="0" actId="478"/>
        <pc:sldMkLst>
          <pc:docMk/>
          <pc:sldMk cId="3335179632" sldId="290"/>
        </pc:sldMkLst>
        <pc:spChg chg="del">
          <ac:chgData name="Mikael Stenstrand" userId="f46e7c30-6f94-4f77-97d0-1ebee2f2f480" providerId="ADAL" clId="{61EF3652-0D59-4C4F-8C7C-2EE8750FAD85}" dt="2022-10-21T11:24:53.924" v="0" actId="478"/>
          <ac:spMkLst>
            <pc:docMk/>
            <pc:sldMk cId="3335179632" sldId="290"/>
            <ac:spMk id="4" creationId="{6371DD86-1399-5910-4F15-E86AE8679128}"/>
          </ac:spMkLst>
        </pc:spChg>
      </pc:sldChg>
      <pc:sldChg chg="delSp modSp mod">
        <pc:chgData name="Mikael Stenstrand" userId="f46e7c30-6f94-4f77-97d0-1ebee2f2f480" providerId="ADAL" clId="{61EF3652-0D59-4C4F-8C7C-2EE8750FAD85}" dt="2022-10-21T11:28:48.336" v="79" actId="554"/>
        <pc:sldMkLst>
          <pc:docMk/>
          <pc:sldMk cId="1797887022" sldId="291"/>
        </pc:sldMkLst>
        <pc:spChg chg="del">
          <ac:chgData name="Mikael Stenstrand" userId="f46e7c30-6f94-4f77-97d0-1ebee2f2f480" providerId="ADAL" clId="{61EF3652-0D59-4C4F-8C7C-2EE8750FAD85}" dt="2022-10-21T11:27:13.722" v="64" actId="478"/>
          <ac:spMkLst>
            <pc:docMk/>
            <pc:sldMk cId="1797887022" sldId="291"/>
            <ac:spMk id="5" creationId="{25842B25-A11E-BFE7-5AC3-FCC722343DBB}"/>
          </ac:spMkLst>
        </pc:spChg>
        <pc:spChg chg="mod">
          <ac:chgData name="Mikael Stenstrand" userId="f46e7c30-6f94-4f77-97d0-1ebee2f2f480" providerId="ADAL" clId="{61EF3652-0D59-4C4F-8C7C-2EE8750FAD85}" dt="2022-10-21T11:28:48.336" v="79" actId="554"/>
          <ac:spMkLst>
            <pc:docMk/>
            <pc:sldMk cId="1797887022" sldId="291"/>
            <ac:spMk id="19" creationId="{39EBF600-0776-66AA-B388-71EBE28BCB10}"/>
          </ac:spMkLst>
        </pc:spChg>
        <pc:spChg chg="mod">
          <ac:chgData name="Mikael Stenstrand" userId="f46e7c30-6f94-4f77-97d0-1ebee2f2f480" providerId="ADAL" clId="{61EF3652-0D59-4C4F-8C7C-2EE8750FAD85}" dt="2022-10-21T11:28:48.336" v="79" actId="554"/>
          <ac:spMkLst>
            <pc:docMk/>
            <pc:sldMk cId="1797887022" sldId="291"/>
            <ac:spMk id="20" creationId="{DD642DE5-24AA-7956-293F-346851BA1CC8}"/>
          </ac:spMkLst>
        </pc:spChg>
      </pc:sldChg>
      <pc:sldChg chg="delSp modSp mod">
        <pc:chgData name="Mikael Stenstrand" userId="f46e7c30-6f94-4f77-97d0-1ebee2f2f480" providerId="ADAL" clId="{61EF3652-0D59-4C4F-8C7C-2EE8750FAD85}" dt="2022-10-21T11:40:45.142" v="160" actId="404"/>
        <pc:sldMkLst>
          <pc:docMk/>
          <pc:sldMk cId="2204632678" sldId="296"/>
        </pc:sldMkLst>
        <pc:spChg chg="mod">
          <ac:chgData name="Mikael Stenstrand" userId="f46e7c30-6f94-4f77-97d0-1ebee2f2f480" providerId="ADAL" clId="{61EF3652-0D59-4C4F-8C7C-2EE8750FAD85}" dt="2022-10-21T11:35:23.197" v="153" actId="20577"/>
          <ac:spMkLst>
            <pc:docMk/>
            <pc:sldMk cId="2204632678" sldId="296"/>
            <ac:spMk id="2" creationId="{2D99F76A-BE0A-4578-809C-BF0E5E1ADB5A}"/>
          </ac:spMkLst>
        </pc:spChg>
        <pc:spChg chg="del">
          <ac:chgData name="Mikael Stenstrand" userId="f46e7c30-6f94-4f77-97d0-1ebee2f2f480" providerId="ADAL" clId="{61EF3652-0D59-4C4F-8C7C-2EE8750FAD85}" dt="2022-10-21T11:35:29.134" v="155" actId="478"/>
          <ac:spMkLst>
            <pc:docMk/>
            <pc:sldMk cId="2204632678" sldId="296"/>
            <ac:spMk id="7" creationId="{01F77448-64CF-4386-8406-839026FD8FC9}"/>
          </ac:spMkLst>
        </pc:spChg>
        <pc:spChg chg="del">
          <ac:chgData name="Mikael Stenstrand" userId="f46e7c30-6f94-4f77-97d0-1ebee2f2f480" providerId="ADAL" clId="{61EF3652-0D59-4C4F-8C7C-2EE8750FAD85}" dt="2022-10-21T11:35:25.917" v="154" actId="478"/>
          <ac:spMkLst>
            <pc:docMk/>
            <pc:sldMk cId="2204632678" sldId="296"/>
            <ac:spMk id="9" creationId="{EED07126-3A70-9A73-A023-617C1BFAE0C8}"/>
          </ac:spMkLst>
        </pc:spChg>
        <pc:graphicFrameChg chg="modGraphic">
          <ac:chgData name="Mikael Stenstrand" userId="f46e7c30-6f94-4f77-97d0-1ebee2f2f480" providerId="ADAL" clId="{61EF3652-0D59-4C4F-8C7C-2EE8750FAD85}" dt="2022-10-21T11:40:45.142" v="160" actId="404"/>
          <ac:graphicFrameMkLst>
            <pc:docMk/>
            <pc:sldMk cId="2204632678" sldId="296"/>
            <ac:graphicFrameMk id="6" creationId="{C7B166F5-64E0-4B0E-B230-0D996B257C55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9B07A9FF-CF56-F15F-E559-05B51DE084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81F50C6-9A16-ACF8-C2E1-13265A453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7FA528-2949-4F7D-B695-57BE9B687B89}" type="datetimeFigureOut">
              <a:rPr lang="sv-SE" smtClean="0"/>
              <a:t>2022-10-2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7A9BAEE-7866-B4C0-9FAA-E0E724C63F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52FA0-8260-A466-08E8-56F4B211D7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28137D-B57E-4896-A616-A7974328D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112385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2-10-2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7C0B713-C358-95C5-407C-8B2397B379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349BF29-705E-C305-1203-BF0EE91E872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2007577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FF60DA54-D3D3-76C6-0E76-D1FD3A953B2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A8A0B725-8BD0-7DEC-16FD-897E2C9C1F0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 sz="900" b="1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Utmaning 1: Väntar med att söka vård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Osäkerhet inför nya symtom och besvär kan göra att patienten avvaktar med att söka vård. 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Patienten har för lite kunskap om att symtomen kan bero på epilepsi.</a:t>
            </a:r>
          </a:p>
          <a:p>
            <a:pPr>
              <a:defRPr sz="900" b="1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Utmaning 2: Kunskapsluckor på akutmottagning/vårdcentrale</a:t>
            </a:r>
            <a:r>
              <a:rPr lang="sv-SE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/BUM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mtomen uppmärksammas och utreds inte</a:t>
            </a:r>
            <a:r>
              <a:rPr lang="sv-SE" sz="1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tillräcklig omfattning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iss till specialistenhet godkänns inte. </a:t>
            </a:r>
            <a:endParaRPr lang="sv-S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 sz="900" b="1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Utmaning 3: Tillgång till epilepsiteam är bristfällig och inte jämlikt fördelat i landet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Patienten får inte kontakt med epilepsisjuksköterska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Patienten har inte fått träffa ett epilepsiteam. </a:t>
            </a:r>
          </a:p>
          <a:p>
            <a:pPr marL="0" indent="0">
              <a:buSzPct val="100000"/>
              <a:buFont typeface="Arial"/>
              <a:buNone/>
              <a:defRPr sz="900"/>
            </a:pPr>
            <a:r>
              <a:rPr lang="sv-SE" sz="1200" b="1" dirty="0">
                <a:latin typeface="Calibri" panose="020F0502020204030204" pitchFamily="34" charset="0"/>
                <a:cs typeface="Calibri" panose="020F0502020204030204" pitchFamily="34" charset="0"/>
              </a:rPr>
              <a:t>Utmaning 4: Långa väntetider i epilepsivården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Patienten har fått vänta på läkarbesök och vårdkontakter sedan symptomen började. 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Patienten får vänta länge på att få genomgå avancerad utredning.</a:t>
            </a:r>
          </a:p>
          <a:p>
            <a:pPr>
              <a:defRPr sz="900" b="1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Utmaning 5: Bristande stöd för att leva med epilepsi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 på kunskap om hur man lär sig acceptera sjukdomen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 på stöd för att ha ett fungerande skol- och yrkesliv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 på stöd riktat till både patient och familj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ande tillgänglighet till någon att prata om kognitiva problem med. 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er i samarbetet mellan barn- och vuxensjukvården.</a:t>
            </a:r>
          </a:p>
          <a:p>
            <a:pPr marL="171450" indent="-171450">
              <a:buSzPct val="100000"/>
              <a:buFont typeface="Arial"/>
              <a:buChar char="•"/>
              <a:defRPr sz="900"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Brister i att vården inte uppmärksammar patientens sociala situation. </a:t>
            </a:r>
          </a:p>
          <a:p>
            <a:endParaRPr lang="sv-S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3758341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0F318C3-F1B2-E781-EBF2-14BFE9F4834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30C3BA4D-E111-6C12-09A5-54C8A81D7DB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unskapsstyrningvard.se/" TargetMode="External"/><Relationship Id="rId2" Type="http://schemas.openxmlformats.org/officeDocument/2006/relationships/hyperlink" Target="https://nationelltklinisktkunskapsstod.se/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kunskapsstyrningvard.se/kunskapsstod/personcentreradesammanhallnavardforlopp/godkandavardforlopp/vardforlopphoftledsartros.1005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1519707" y="2209800"/>
            <a:ext cx="9465972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5400" dirty="0">
                <a:solidFill>
                  <a:srgbClr val="FFFFFF"/>
                </a:solidFill>
                <a:latin typeface="Calibri" panose="020F0502020204030204"/>
              </a:rPr>
              <a:t>Epilepsi</a:t>
            </a:r>
            <a:endParaRPr kumimoji="0" lang="sv-SE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988742" y="531022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4" y="2685207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Kunskapsluckor på akutmottagning/vårdcentraler/BUM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5" y="3582256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Tillgång till epilepsiteam är bristfällig och inte jämlikt fördelat i landet</a:t>
            </a: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5" y="4479305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Långa väntetider i epilepsivården</a:t>
            </a:r>
          </a:p>
        </p:txBody>
      </p:sp>
      <p:sp>
        <p:nvSpPr>
          <p:cNvPr id="11" name="Platshållare för text 4"/>
          <p:cNvSpPr txBox="1">
            <a:spLocks/>
          </p:cNvSpPr>
          <p:nvPr/>
        </p:nvSpPr>
        <p:spPr>
          <a:xfrm>
            <a:off x="4603004" y="5376355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5) Bristande stöd för att leva med epilepsi</a:t>
            </a:r>
          </a:p>
        </p:txBody>
      </p:sp>
      <p:sp>
        <p:nvSpPr>
          <p:cNvPr id="2" name="Högerpil 1"/>
          <p:cNvSpPr/>
          <p:nvPr/>
        </p:nvSpPr>
        <p:spPr>
          <a:xfrm>
            <a:off x="4296885" y="2022237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/>
          <p:cNvSpPr/>
          <p:nvPr/>
        </p:nvSpPr>
        <p:spPr>
          <a:xfrm>
            <a:off x="4296885" y="269263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/>
          <p:cNvSpPr/>
          <p:nvPr/>
        </p:nvSpPr>
        <p:spPr>
          <a:xfrm>
            <a:off x="4296885" y="365515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/>
          <p:cNvSpPr/>
          <p:nvPr/>
        </p:nvSpPr>
        <p:spPr>
          <a:xfrm>
            <a:off x="4296885" y="461768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Högerpil 15"/>
          <p:cNvSpPr/>
          <p:nvPr/>
        </p:nvSpPr>
        <p:spPr>
          <a:xfrm>
            <a:off x="4296885" y="5580211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5407270" cy="792000"/>
          </a:xfr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Väntar med att söka vård</a:t>
            </a:r>
            <a:endParaRPr lang="sv-SE" dirty="0"/>
          </a:p>
        </p:txBody>
      </p:sp>
      <p:sp>
        <p:nvSpPr>
          <p:cNvPr id="18" name="textruta 17"/>
          <p:cNvSpPr txBox="1"/>
          <p:nvPr/>
        </p:nvSpPr>
        <p:spPr>
          <a:xfrm>
            <a:off x="4539375" y="1221513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1">
                    <a:lumMod val="75000"/>
                  </a:schemeClr>
                </a:solidFill>
              </a:rPr>
              <a:t>Utmaningar</a:t>
            </a:r>
          </a:p>
        </p:txBody>
      </p:sp>
      <p:sp>
        <p:nvSpPr>
          <p:cNvPr id="3" name="textruta 4">
            <a:extLst>
              <a:ext uri="{FF2B5EF4-FFF2-40B4-BE49-F238E27FC236}">
                <a16:creationId xmlns:a16="http://schemas.microsoft.com/office/drawing/2014/main" id="{061D49D6-C16A-0A84-E6C9-0A952000059B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  <p:pic>
        <p:nvPicPr>
          <p:cNvPr id="13" name="Picture 12" descr="Figuren visar en grafisk presentation av vanligt förekommande erfarenheter av hälso- och sjukvården hos personer med epilepsi. Erfarenheterna sammanfattas i följande utmaningar:&#10;Utmaning 1: Väntar med att söka vård.&#10;Utmaning 2: Kunskapsluckor på akutmottagning/vårdcentraler/BUM.&#10;Utmaning 3: Tillgång till epilepsiteam är bristfällig och inte jämlikt fördelat i landet.&#10;Utmaning 4: Långa väntetider i epilepsivården.&#10;Utmaning 5: Bristande stöd för att leva med epilepsi.">
            <a:extLst>
              <a:ext uri="{FF2B5EF4-FFF2-40B4-BE49-F238E27FC236}">
                <a16:creationId xmlns:a16="http://schemas.microsoft.com/office/drawing/2014/main" id="{A0BF6481-E70D-44F1-E9A4-DB939A7A76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738" y="1417958"/>
            <a:ext cx="3279066" cy="47819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76291" y="616841"/>
            <a:ext cx="3440383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5047666" y="1226634"/>
            <a:ext cx="7144334" cy="4186238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Nästa steg i vårdplanen ska vara känd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Så att patienten ska ges förutsättningar och stöd att kunna fullfölja sin vårdplan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Den fasta vårdkontakten med epilepsisjuksköterskan stöttar att detta blir möjligt och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Epilepsiteamet stöttar patientens rehabilitering efter behov</a:t>
            </a:r>
          </a:p>
          <a:p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5047666" y="5652507"/>
            <a:ext cx="7010985" cy="910218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sz="16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3" name="Bildobjekt 2" descr="En bild som visar person, inomhus, vägg, stående&#10;&#10;Automatiskt genererad beskrivning">
            <a:extLst>
              <a:ext uri="{FF2B5EF4-FFF2-40B4-BE49-F238E27FC236}">
                <a16:creationId xmlns:a16="http://schemas.microsoft.com/office/drawing/2014/main" id="{56EB995C-8C98-E96C-F6A7-938864599E8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9" r="31087"/>
          <a:stretch/>
        </p:blipFill>
        <p:spPr>
          <a:xfrm>
            <a:off x="1" y="0"/>
            <a:ext cx="4914900" cy="6648450"/>
          </a:xfrm>
          <a:prstGeom prst="rect">
            <a:avLst/>
          </a:prstGeom>
        </p:spPr>
      </p:pic>
      <p:sp>
        <p:nvSpPr>
          <p:cNvPr id="2" name="textruta 4">
            <a:extLst>
              <a:ext uri="{FF2B5EF4-FFF2-40B4-BE49-F238E27FC236}">
                <a16:creationId xmlns:a16="http://schemas.microsoft.com/office/drawing/2014/main" id="{2FE6F9E6-8AC7-F5DD-E422-3F20AEDE8161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418988" y="1152525"/>
            <a:ext cx="7103434" cy="609793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514821" y="1898650"/>
            <a:ext cx="7338822" cy="3395245"/>
          </a:xfrm>
          <a:solidFill>
            <a:schemeClr val="bg1"/>
          </a:solidFill>
          <a:ln>
            <a:noFill/>
          </a:ln>
          <a:effectLst/>
        </p:spPr>
        <p:txBody>
          <a:bodyPr tIns="90000">
            <a:normAutofit fontScale="92500"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ationella riktlinjer för epilepsi 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BU:s rapport om diagnostik och behandling av epilepsi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äkemedelsverkets behandlingsrekommendationer för epilepsi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kala vårdprogram 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LAE (International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eauge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Against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pilespsy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enska Epilepsisällskapet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pilepsiförbundet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83" t="24509" r="26098" b="17496"/>
          <a:stretch/>
        </p:blipFill>
        <p:spPr>
          <a:xfrm>
            <a:off x="0" y="0"/>
            <a:ext cx="3560712" cy="6697014"/>
          </a:xfrm>
          <a:prstGeom prst="rect">
            <a:avLst/>
          </a:prstGeom>
        </p:spPr>
      </p:pic>
      <p:sp>
        <p:nvSpPr>
          <p:cNvPr id="7" name="textruta 4">
            <a:extLst>
              <a:ext uri="{FF2B5EF4-FFF2-40B4-BE49-F238E27FC236}">
                <a16:creationId xmlns:a16="http://schemas.microsoft.com/office/drawing/2014/main" id="{D31A683C-125E-C868-8D6E-594316DBF80B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826758" y="1483826"/>
            <a:ext cx="2905847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464197"/>
            <a:ext cx="6336000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/>
          <p:cNvSpPr/>
          <p:nvPr/>
        </p:nvSpPr>
        <p:spPr>
          <a:xfrm rot="10800000">
            <a:off x="4012175" y="3344939"/>
            <a:ext cx="443945" cy="784676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928807"/>
              </p:ext>
            </p:extLst>
          </p:nvPr>
        </p:nvGraphicFramePr>
        <p:xfrm>
          <a:off x="4572896" y="2052330"/>
          <a:ext cx="6335738" cy="3571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18179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117559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sv-SE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redning och bedömning</a:t>
                      </a:r>
                      <a:endParaRPr lang="sv-SE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fontAlgn="base"/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rta utredning i den specialiserade vården. Det bör i allmänhet ske inom fyra veckor från första vårdkontakten för barn, ungdomar och vuxna. För barn under två år bör det ske inom två veckor.   </a:t>
                      </a:r>
                    </a:p>
                    <a:p>
                      <a:pPr lvl="0" fontAlgn="base"/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äkerställ kontakt med epilepsisjuksköterska tidigt i kontakten med den specialiserade vården. </a:t>
                      </a:r>
                    </a:p>
                    <a:p>
                      <a:pPr lvl="0" fontAlgn="base"/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skriv anfallen, genomför klinisk undersökning och ta ställning till eventuell genetisk utredning.</a:t>
                      </a:r>
                    </a:p>
                    <a:p>
                      <a:pPr lvl="0" fontAlgn="base"/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r MRT för barn under två år, barn med fokal neurologi samt för vuxna med indikation för neuroradiologisk utredning enligt indikation i (A).</a:t>
                      </a:r>
                    </a:p>
                    <a:p>
                      <a:pPr lvl="0" fontAlgn="base"/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ör EEG för</a:t>
                      </a:r>
                      <a:r>
                        <a:rPr lang="sv-SE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n och vuxna vid misstänkt epilepsi efter neurologisk bedömning. </a:t>
                      </a:r>
                    </a:p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 osäkerhet kring diagnos krävs fortsatt iakttagelse, bedömning samt ytterligare provtagning och uppföljning av patientens symtom. </a:t>
                      </a:r>
                      <a:endParaRPr lang="sv-SE" sz="11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takta epilepsisjuksköterska vid behov av hjälp och stöd</a:t>
                      </a:r>
                    </a:p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endParaRPr lang="sv-SE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verka med beskrivning av symtom och mående </a:t>
                      </a:r>
                    </a:p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endParaRPr lang="sv-SE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r>
                        <a:rPr lang="sv-SE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verka vid undersökningar</a:t>
                      </a:r>
                    </a:p>
                    <a:p>
                      <a:pPr marL="171450" lvl="0" indent="-171450" fontAlgn="base">
                        <a:buFont typeface="Arial" panose="020B0604020202020204" pitchFamily="34" charset="0"/>
                        <a:buChar char="•"/>
                      </a:pPr>
                      <a:endParaRPr lang="sv-SE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 hjälp av närstående vid behov</a:t>
                      </a:r>
                      <a:r>
                        <a:rPr lang="sv-SE" sz="1200" dirty="0">
                          <a:effectLst/>
                        </a:rPr>
                        <a:t> </a:t>
                      </a:r>
                      <a:endParaRPr lang="sv-SE" sz="12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sp>
        <p:nvSpPr>
          <p:cNvPr id="3" name="textruta 2">
            <a:extLst>
              <a:ext uri="{FF2B5EF4-FFF2-40B4-BE49-F238E27FC236}">
                <a16:creationId xmlns:a16="http://schemas.microsoft.com/office/drawing/2014/main" id="{61A139CF-8544-F8C9-0EA9-CD30CB1337C8}"/>
              </a:ext>
            </a:extLst>
          </p:cNvPr>
          <p:cNvSpPr txBox="1"/>
          <p:nvPr/>
        </p:nvSpPr>
        <p:spPr>
          <a:xfrm rot="19199136">
            <a:off x="4075896" y="1934697"/>
            <a:ext cx="6735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dirty="0">
                <a:solidFill>
                  <a:srgbClr val="FF0000"/>
                </a:solidFill>
              </a:rPr>
              <a:t>Exempel</a:t>
            </a:r>
            <a:endParaRPr lang="sv-SE" dirty="0">
              <a:solidFill>
                <a:srgbClr val="FF0000"/>
              </a:solidFill>
            </a:endParaRPr>
          </a:p>
        </p:txBody>
      </p:sp>
      <p:sp>
        <p:nvSpPr>
          <p:cNvPr id="4" name="textruta 4">
            <a:extLst>
              <a:ext uri="{FF2B5EF4-FFF2-40B4-BE49-F238E27FC236}">
                <a16:creationId xmlns:a16="http://schemas.microsoft.com/office/drawing/2014/main" id="{EA608B2C-7B34-790E-2FB7-9633D17E003F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9A717C-343C-7E80-CD31-0E7915FA56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852" y="2026504"/>
            <a:ext cx="3068640" cy="4112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8">
            <a:extLst>
              <a:ext uri="{FF2B5EF4-FFF2-40B4-BE49-F238E27FC236}">
                <a16:creationId xmlns:a16="http://schemas.microsoft.com/office/drawing/2014/main" id="{4F42CCD4-CA67-7C16-63A1-CDC2BEA33CB9}"/>
              </a:ext>
            </a:extLst>
          </p:cNvPr>
          <p:cNvSpPr/>
          <p:nvPr/>
        </p:nvSpPr>
        <p:spPr>
          <a:xfrm>
            <a:off x="7597597" y="1634869"/>
            <a:ext cx="2628901" cy="458488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bg1"/>
              </a:solidFill>
            </a:endParaRP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425" y="449180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 (urval)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77AC2E0A-A079-A10D-0901-28B3EC216F3E}"/>
              </a:ext>
            </a:extLst>
          </p:cNvPr>
          <p:cNvGrpSpPr/>
          <p:nvPr/>
        </p:nvGrpSpPr>
        <p:grpSpPr>
          <a:xfrm>
            <a:off x="352425" y="1610765"/>
            <a:ext cx="5743575" cy="506699"/>
            <a:chOff x="352425" y="1537704"/>
            <a:chExt cx="5743575" cy="50669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4FCC5333-BE59-3F39-E5C7-019BE23A5C08}"/>
                </a:ext>
              </a:extLst>
            </p:cNvPr>
            <p:cNvSpPr/>
            <p:nvPr/>
          </p:nvSpPr>
          <p:spPr>
            <a:xfrm>
              <a:off x="1909762" y="1561809"/>
              <a:ext cx="2628901" cy="458488"/>
            </a:xfrm>
            <a:prstGeom prst="rect">
              <a:avLst/>
            </a:prstGeom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3526B6-D4F9-4B22-AC5A-C610BB2A6702}"/>
                </a:ext>
              </a:extLst>
            </p:cNvPr>
            <p:cNvSpPr/>
            <p:nvPr/>
          </p:nvSpPr>
          <p:spPr>
            <a:xfrm>
              <a:off x="352425" y="1537704"/>
              <a:ext cx="5743575" cy="5066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ultatmåt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6192925" y="1576266"/>
            <a:ext cx="5438243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mått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76CCF95F-4B9B-8286-A0AA-A126A8FEF424}"/>
              </a:ext>
            </a:extLst>
          </p:cNvPr>
          <p:cNvSpPr/>
          <p:nvPr/>
        </p:nvSpPr>
        <p:spPr>
          <a:xfrm>
            <a:off x="352425" y="2149731"/>
            <a:ext cx="5743575" cy="32480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EEA20762-E7C2-E162-D098-2CC2D11878EA}"/>
              </a:ext>
            </a:extLst>
          </p:cNvPr>
          <p:cNvSpPr/>
          <p:nvPr/>
        </p:nvSpPr>
        <p:spPr>
          <a:xfrm>
            <a:off x="6254308" y="2149730"/>
            <a:ext cx="5743575" cy="32480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D1377C90-0B11-B0E4-83F3-D05555139C05}"/>
              </a:ext>
            </a:extLst>
          </p:cNvPr>
          <p:cNvSpPr txBox="1"/>
          <p:nvPr/>
        </p:nvSpPr>
        <p:spPr>
          <a:xfrm>
            <a:off x="508442" y="2273761"/>
            <a:ext cx="541610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Andel patienter med epilepsi med akut vårdtillfälle </a:t>
            </a:r>
            <a:r>
              <a:rPr lang="sv-SE" sz="18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hög prioritet)</a:t>
            </a:r>
            <a:endParaRPr lang="sv-SE" b="1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ndel patienter med epilepsi som känner sig delaktiga i vården </a:t>
            </a:r>
            <a:r>
              <a:rPr lang="sv-SE" sz="1800" b="1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hög prioritet)</a:t>
            </a:r>
            <a:endParaRPr lang="sv-SE" b="1" dirty="0"/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E9A47596-FA0A-7961-308A-34A4D23A727D}"/>
              </a:ext>
            </a:extLst>
          </p:cNvPr>
          <p:cNvSpPr txBox="1"/>
          <p:nvPr/>
        </p:nvSpPr>
        <p:spPr>
          <a:xfrm>
            <a:off x="6581775" y="2231821"/>
            <a:ext cx="541610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Andel patienter med misstänkt epilepsi som genomfört besök i den specialiserade vården, efter remiss, inom 2 veckor för barn under två år respektive inom 4 veckor för övriga patienter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del kontaktförsök med epilepsisjuksköterska som får respons inom två arbetsdagar (via telefon eller digitalt via 1177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del vuxna med epilepsi som genomgår neuropsykologisk utredning inom tre år efter epilepsidiagnos</a:t>
            </a:r>
          </a:p>
        </p:txBody>
      </p:sp>
      <p:sp>
        <p:nvSpPr>
          <p:cNvPr id="10" name="textruta 4">
            <a:extLst>
              <a:ext uri="{FF2B5EF4-FFF2-40B4-BE49-F238E27FC236}">
                <a16:creationId xmlns:a16="http://schemas.microsoft.com/office/drawing/2014/main" id="{9891B227-AB93-2A35-9386-7048404A9780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Rätt vård i rätt tid för rätt individ, bland annat genom ökad trygghet via en fast kontakt med epilepsisjuksköterska och tillgång till behandling i team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utsättningar för att icke-värdeskapande vårdåtgärder kan undvikas och optimerat val av vårdnivå. Detta tros innebära en besparing på lång sikt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Behov av ökad kompetens om epilepsi på akutmottagningar, vårdcentraler och barn- och ungdomsmedicinska mottagninga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Införande av epilepsiteam behöver göras i olika grad utifrån befintligt läge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Fler epilepsisjuksköterskor behöver utbildas och i vissa fall anställas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Väntetider i vårdkedjan </a:t>
            </a:r>
            <a:r>
              <a:rPr lang="sv-SE" i="1" dirty="0">
                <a:solidFill>
                  <a:srgbClr val="000000"/>
                </a:solidFill>
              </a:rPr>
              <a:t>före</a:t>
            </a:r>
            <a:r>
              <a:rPr lang="sv-SE" dirty="0">
                <a:solidFill>
                  <a:srgbClr val="000000"/>
                </a:solidFill>
              </a:rPr>
              <a:t> och </a:t>
            </a:r>
            <a:r>
              <a:rPr lang="sv-SE" i="1" dirty="0">
                <a:solidFill>
                  <a:srgbClr val="000000"/>
                </a:solidFill>
              </a:rPr>
              <a:t>efter</a:t>
            </a:r>
            <a:r>
              <a:rPr lang="sv-SE" dirty="0">
                <a:solidFill>
                  <a:srgbClr val="000000"/>
                </a:solidFill>
              </a:rPr>
              <a:t> diagnos behöver förkortas</a:t>
            </a:r>
          </a:p>
          <a:p>
            <a:pPr lvl="0"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6506CDB5-7F3F-4DAF-B872-1BC8872ABD7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2" name="textruta 4">
            <a:extLst>
              <a:ext uri="{FF2B5EF4-FFF2-40B4-BE49-F238E27FC236}">
                <a16:creationId xmlns:a16="http://schemas.microsoft.com/office/drawing/2014/main" id="{B74D0C11-4D8F-A2A6-16A5-2F99BDA3055E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1441" y="717819"/>
            <a:ext cx="10177559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Personcentrerat och sammanhållet vårdförlopp för epilepsi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1023549" y="2153265"/>
            <a:ext cx="4896000" cy="358680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ktiga må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å ett evidensbaserat sätt säkerställa diagnos och behandling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omföra uppföljning och teamomhändertagande efter behov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ntifiera behov av habilitering och rehabilitering</a:t>
            </a:r>
            <a:endParaRPr lang="sv-SE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72451" y="2153265"/>
            <a:ext cx="4896000" cy="358680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Uppföljning av bland annat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A</a:t>
            </a:r>
            <a:r>
              <a:rPr lang="sv-SE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ntal </a:t>
            </a:r>
            <a:r>
              <a:rPr lang="sv-SE" sz="180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genomförda specificerade utredningar</a:t>
            </a:r>
            <a:endParaRPr lang="sv-SE" sz="1800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/>
              <a:cs typeface="Arial Unicode MS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A</a:t>
            </a:r>
            <a:r>
              <a:rPr lang="sv-SE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ntal akuta vårdtillfäll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effectLst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Möjligheterna till kontakt med epilepsisjuksköterska.   </a:t>
            </a:r>
            <a:endParaRPr lang="sv-SE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0">
              <a:lnSpc>
                <a:spcPct val="115000"/>
              </a:lnSpc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BDF53FC-FB81-B482-0E8A-B14919481220}"/>
              </a:ext>
            </a:extLst>
          </p:cNvPr>
          <p:cNvSpPr/>
          <p:nvPr/>
        </p:nvSpPr>
        <p:spPr>
          <a:xfrm>
            <a:off x="871441" y="1353879"/>
            <a:ext cx="103080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et inleds vid misstanke om epilepsi hos barn eller vuxen och avslutas om/när diagnosen avskrivs eller om patienten inte längre behöver behandling.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800E2F11-2339-700F-D53F-EB6F49D128BC}"/>
              </a:ext>
            </a:extLst>
          </p:cNvPr>
          <p:cNvSpPr txBox="1"/>
          <p:nvPr/>
        </p:nvSpPr>
        <p:spPr>
          <a:xfrm>
            <a:off x="954246" y="322220"/>
            <a:ext cx="208358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SAMMANFATTNING</a:t>
            </a:r>
          </a:p>
        </p:txBody>
      </p:sp>
      <p:sp>
        <p:nvSpPr>
          <p:cNvPr id="6" name="textruta 4">
            <a:extLst>
              <a:ext uri="{FF2B5EF4-FFF2-40B4-BE49-F238E27FC236}">
                <a16:creationId xmlns:a16="http://schemas.microsoft.com/office/drawing/2014/main" id="{3C199C81-FAF3-2428-11C1-3EADD6332CFF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28631906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 NAG Epilepsi (1/2)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2230464"/>
              </p:ext>
            </p:extLst>
          </p:nvPr>
        </p:nvGraphicFramePr>
        <p:xfrm>
          <a:off x="580293" y="889892"/>
          <a:ext cx="11002107" cy="4551564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33384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</a:rPr>
                        <a:t>Namn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</a:rPr>
                        <a:t>Region/sjukvårdsregion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Anna </a:t>
                      </a:r>
                      <a:r>
                        <a:rPr lang="sv-SE" sz="1400" b="1" dirty="0" err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delvik</a:t>
                      </a: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 Tranber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d. dr. Universitetsneurolo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Göteborg 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Anna Hugoson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pilepsisjuksköterska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und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Berndt Ohlin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Patientföreträdare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Karlskrona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rik Ferry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Akutläkare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Umeå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va Kumlien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Professor Universitetsneurolo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Uppsala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wa </a:t>
                      </a:r>
                      <a:r>
                        <a:rPr lang="sv-SE" sz="1400" b="1" dirty="0" err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Wadhagen</a:t>
                      </a: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 Wedlund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d. Licentiat Arbetsterapeut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uddinge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anna Ljung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PhD. Neuropsykolo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und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ans Lindehammar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d. dr. Klinisk neurofysiolo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inköpin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ans Olsson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abiliteringsläkare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Jönköpin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Håkan Sjunnesson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d. dr. Neuroradiolog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und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Jenny Isaksson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Klinisk farmakolog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inköpin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Jonas Blixt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Neuroanestesiolog</a:t>
                      </a:r>
                      <a:endParaRPr lang="sv-SE" sz="14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tockholm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artina </a:t>
                      </a:r>
                      <a:r>
                        <a:rPr lang="sv-SE" sz="1400" b="1" dirty="0" err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Ederlöf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Kurator</a:t>
                      </a:r>
                      <a:endParaRPr lang="sv-SE" sz="14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Umeå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textruta 4">
            <a:extLst>
              <a:ext uri="{FF2B5EF4-FFF2-40B4-BE49-F238E27FC236}">
                <a16:creationId xmlns:a16="http://schemas.microsoft.com/office/drawing/2014/main" id="{822815F5-273C-70AE-D98C-80D2AAFADDB0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 NAG Epilepsi (2/2)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0391434"/>
              </p:ext>
            </p:extLst>
          </p:nvPr>
        </p:nvGraphicFramePr>
        <p:xfrm>
          <a:off x="580293" y="889892"/>
          <a:ext cx="11002107" cy="325017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33384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</a:rPr>
                        <a:t>Namn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1800" dirty="0">
                          <a:effectLst/>
                        </a:rPr>
                        <a:t>Region/sjukvårdsregion</a:t>
                      </a:r>
                      <a:endParaRPr lang="sv-S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artin Rödholm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d. dr. Specialistläkare i psykiatri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Götebor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irja Niedeman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pecialistsjuksköterska barn och ungdom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tockholm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Pelle Nilsson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Docent Neurokirurg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Uppsala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Rune Johansson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änsneurolo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Karlstad 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ebastian Schoots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Allmänläkare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Mellerud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Torgny Andersen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Fil. Mag. Verksamhetsutvecklare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Lund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Tove Hallböök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Docent Barnneurolog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Göteborg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Tuula Lumikkuka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iträdande universitetssjuksköterska</a:t>
                      </a:r>
                      <a:endParaRPr lang="sv-SE" sz="1600" strike="sngStrike" dirty="0"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tockholm</a:t>
                      </a:r>
                      <a:endParaRPr lang="sv-SE" sz="16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b="1" dirty="0" err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UllaBritt</a:t>
                      </a: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 </a:t>
                      </a:r>
                      <a:r>
                        <a:rPr lang="sv-SE" sz="1400" b="1" dirty="0" err="1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Gripenstedt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Rehabiliteringsläkare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v-SE" sz="1400" dirty="0"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</a:rPr>
                        <a:t>Stockholm</a:t>
                      </a:r>
                      <a:endParaRPr lang="sv-SE" sz="16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</a:endParaRPr>
                    </a:p>
                  </a:txBody>
                  <a:tcPr marL="50800" marR="50800" marT="50800" marB="5080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</a:tbl>
          </a:graphicData>
        </a:graphic>
      </p:graphicFrame>
      <p:sp>
        <p:nvSpPr>
          <p:cNvPr id="3" name="textruta 4">
            <a:extLst>
              <a:ext uri="{FF2B5EF4-FFF2-40B4-BE49-F238E27FC236}">
                <a16:creationId xmlns:a16="http://schemas.microsoft.com/office/drawing/2014/main" id="{822815F5-273C-70AE-D98C-80D2AAFADDB0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22046326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2"/>
              </a:rPr>
              <a:t>NKK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3"/>
              </a:rPr>
              <a:t>www.kunskapsstyrningvard.s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6" name="Rektangel 5"/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  <a:p>
            <a:r>
              <a:rPr lang="sv-SE" dirty="0">
                <a:solidFill>
                  <a:schemeClr val="tx1"/>
                </a:solidFill>
              </a:rPr>
              <a:t>[</a:t>
            </a:r>
            <a:r>
              <a:rPr lang="sv-SE" i="1" dirty="0">
                <a:solidFill>
                  <a:schemeClr val="tx1"/>
                </a:solidFill>
              </a:rPr>
              <a:t>Plats för </a:t>
            </a:r>
            <a:r>
              <a:rPr lang="sv-SE" i="1" dirty="0" err="1">
                <a:solidFill>
                  <a:schemeClr val="tx1"/>
                </a:solidFill>
              </a:rPr>
              <a:t>skärmdumpar</a:t>
            </a:r>
            <a:r>
              <a:rPr lang="sv-SE" i="1" dirty="0">
                <a:solidFill>
                  <a:schemeClr val="tx1"/>
                </a:solidFill>
              </a:rPr>
              <a:t> från filmerna. </a:t>
            </a:r>
            <a:r>
              <a:rPr lang="sv-SE" dirty="0">
                <a:solidFill>
                  <a:schemeClr val="tx1"/>
                </a:solidFill>
              </a:rPr>
              <a:t>]</a:t>
            </a:r>
          </a:p>
        </p:txBody>
      </p:sp>
      <p:sp>
        <p:nvSpPr>
          <p:cNvPr id="9" name="Rektangel 8"/>
          <p:cNvSpPr/>
          <p:nvPr/>
        </p:nvSpPr>
        <p:spPr>
          <a:xfrm>
            <a:off x="6731289" y="4558684"/>
            <a:ext cx="48900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LÄNK:</a:t>
            </a:r>
            <a:endParaRPr lang="sv-SE" sz="1100" dirty="0">
              <a:solidFill>
                <a:srgbClr val="000000"/>
              </a:solidFill>
              <a:latin typeface="Calibri"/>
              <a:hlinkClick r:id="rId4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9925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/>
              <a:t>Filmer</a:t>
            </a:r>
            <a:r>
              <a:rPr lang="sv-SE" sz="1600" dirty="0"/>
              <a:t> </a:t>
            </a:r>
          </a:p>
        </p:txBody>
      </p:sp>
      <p:sp>
        <p:nvSpPr>
          <p:cNvPr id="4" name="textruta 4">
            <a:extLst>
              <a:ext uri="{FF2B5EF4-FFF2-40B4-BE49-F238E27FC236}">
                <a16:creationId xmlns:a16="http://schemas.microsoft.com/office/drawing/2014/main" id="{7E3BA5C7-145A-3DAE-53F5-0CF65FACB950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</a:t>
            </a:r>
            <a:r>
              <a:rPr lang="sv-SE" strike="sngStrike" dirty="0"/>
              <a:t>mer</a:t>
            </a:r>
            <a:r>
              <a:rPr lang="sv-SE" dirty="0"/>
              <a:t>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1155090" y="2599026"/>
            <a:ext cx="9708240" cy="1084332"/>
          </a:xfrm>
        </p:spPr>
        <p:txBody>
          <a:bodyPr>
            <a:norm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ljande två bilder är tänkta att användas som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nderlag och inspiration för diskussion och dialog.</a:t>
            </a: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ruta 4">
            <a:extLst>
              <a:ext uri="{FF2B5EF4-FFF2-40B4-BE49-F238E27FC236}">
                <a16:creationId xmlns:a16="http://schemas.microsoft.com/office/drawing/2014/main" id="{F2FF7B89-B234-29C8-88CC-A7CC544A9601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9770498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1 - gapanalys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blir konsekvenserna?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E47C063-139E-9074-E97E-C42C5A48A6EA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4">
            <a:extLst>
              <a:ext uri="{FF2B5EF4-FFF2-40B4-BE49-F238E27FC236}">
                <a16:creationId xmlns:a16="http://schemas.microsoft.com/office/drawing/2014/main" id="{78323E2F-2172-4C7C-E0AF-53B228F942B5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- införand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?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kan vi arbeta med införandet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37F4A37B-AA68-CEE5-6F77-5DA8FF170330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4">
            <a:extLst>
              <a:ext uri="{FF2B5EF4-FFF2-40B4-BE49-F238E27FC236}">
                <a16:creationId xmlns:a16="http://schemas.microsoft.com/office/drawing/2014/main" id="{569A8485-E2B1-E7C9-B77E-93ECC19D5F0B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2205044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393" y="404340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6393" y="1356955"/>
            <a:ext cx="5489331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73"/>
          <a:stretch/>
        </p:blipFill>
        <p:spPr>
          <a:xfrm>
            <a:off x="6541551" y="1226634"/>
            <a:ext cx="5650449" cy="427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1C9BEB-CD13-B727-1031-12DCD1D223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Om Epilepsi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2FDF8E6-DF6A-7822-A7E1-C2673FAB26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I Sverige finns cirka 81 000 personer, varav 12 000 barn, som har diagnosen epilepsi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Årligen insjuknar 4 000 vuxna och 1 500 barn.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Epilepsi kan uppstå när som helst i livet. Störst risk att insjukna har barn under ett år och personer över 65 år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Diagnosen epilepsi får den som haft återkommande epileptiska anfall som inte framkallats av någon tillfällig yttre påverkan.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03C72457-25A9-CE50-9DCF-8D379B6ACBDF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3335179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572" y="419321"/>
            <a:ext cx="10628003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omfattning och huvudsakliga åtgärd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12347" y="2782502"/>
            <a:ext cx="9235263" cy="245370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eskriver processen från det akuta omhändertagandet till omhändertagandet av kronisk sjukdom, främst i den specialiserade vårde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Teambaserad behandling och framhävande av epilepsisjuksköterskans roll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kern="0" dirty="0">
                <a:solidFill>
                  <a:schemeClr val="tx1"/>
                </a:solidFill>
                <a:ea typeface="Symbol" panose="05050102010706020507" pitchFamily="18" charset="2"/>
                <a:cs typeface="Symbol" panose="05050102010706020507" pitchFamily="18" charset="2"/>
              </a:rPr>
              <a:t>K</a:t>
            </a:r>
            <a:r>
              <a:rPr lang="sv-SE" sz="1800" u="none" strike="noStrike" kern="0" spc="0" dirty="0">
                <a:solidFill>
                  <a:schemeClr val="tx1"/>
                </a:solidFill>
                <a:effectLst/>
                <a:ea typeface="Symbol" panose="05050102010706020507" pitchFamily="18" charset="2"/>
                <a:cs typeface="Symbol" panose="05050102010706020507" pitchFamily="18" charset="2"/>
              </a:rPr>
              <a:t>orrekt akut omhändertagande vid epileptiska anfall och snabb tid från insjuknande till utredning och behandling inom specialiserad vår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kern="0" dirty="0">
                <a:solidFill>
                  <a:schemeClr val="tx1"/>
                </a:solidFill>
                <a:ea typeface="Symbol" panose="05050102010706020507" pitchFamily="18" charset="2"/>
                <a:cs typeface="Symbol" panose="05050102010706020507" pitchFamily="18" charset="2"/>
              </a:rPr>
              <a:t>P</a:t>
            </a:r>
            <a:r>
              <a:rPr lang="sv-SE" sz="1800" u="none" strike="noStrike" kern="0" spc="0" dirty="0">
                <a:solidFill>
                  <a:schemeClr val="tx1"/>
                </a:solidFill>
                <a:effectLst/>
                <a:ea typeface="Symbol" panose="05050102010706020507" pitchFamily="18" charset="2"/>
                <a:cs typeface="Symbol" panose="05050102010706020507" pitchFamily="18" charset="2"/>
              </a:rPr>
              <a:t>atientens säkerhet, delaktighet och inflytande säkerställs genom stadigvarande kontakt med epilepsisjuksköterska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kern="0" dirty="0">
                <a:solidFill>
                  <a:schemeClr val="tx1"/>
                </a:solidFill>
                <a:ea typeface="Symbol" panose="05050102010706020507" pitchFamily="18" charset="2"/>
                <a:cs typeface="Symbol" panose="05050102010706020507" pitchFamily="18" charset="2"/>
              </a:rPr>
              <a:t>U</a:t>
            </a:r>
            <a:r>
              <a:rPr lang="sv-SE" sz="1800" u="none" strike="noStrike" kern="0" spc="0" dirty="0">
                <a:solidFill>
                  <a:schemeClr val="tx1"/>
                </a:solidFill>
                <a:effectLst/>
                <a:ea typeface="Symbol" panose="05050102010706020507" pitchFamily="18" charset="2"/>
                <a:cs typeface="Symbol" panose="05050102010706020507" pitchFamily="18" charset="2"/>
              </a:rPr>
              <a:t>ppföljning och kontinuitet med epilepsiteam samt i vissa fall primärvård i såväl region som kommun och habilitering</a:t>
            </a: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43940B13-6F64-36B2-4C89-CA72E4F0E13F}"/>
              </a:ext>
            </a:extLst>
          </p:cNvPr>
          <p:cNvSpPr txBox="1"/>
          <p:nvPr/>
        </p:nvSpPr>
        <p:spPr>
          <a:xfrm>
            <a:off x="843565" y="1371401"/>
            <a:ext cx="96709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Vårdförloppet omfattar åtgärder från misstanke om epilepsi hos barn eller vuxen och avslutas om/när diagnosen avskrivs eller om patienten inte längre behöver behandling. 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8978CE9F-44FE-390C-42D2-151889018FE8}"/>
              </a:ext>
            </a:extLst>
          </p:cNvPr>
          <p:cNvSpPr txBox="1"/>
          <p:nvPr/>
        </p:nvSpPr>
        <p:spPr>
          <a:xfrm>
            <a:off x="843565" y="2398503"/>
            <a:ext cx="2383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u="sng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Huvudsakliga åtgärder:</a:t>
            </a:r>
          </a:p>
        </p:txBody>
      </p:sp>
      <p:sp>
        <p:nvSpPr>
          <p:cNvPr id="3" name="textruta 4">
            <a:extLst>
              <a:ext uri="{FF2B5EF4-FFF2-40B4-BE49-F238E27FC236}">
                <a16:creationId xmlns:a16="http://schemas.microsoft.com/office/drawing/2014/main" id="{CEBF720E-2F58-9B26-D16A-639F04C69EEF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919552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E42C4A-E09D-E51E-EE2D-CE344FBD3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6140" y="722231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arför ett vårdförlopp?</a:t>
            </a:r>
            <a:br>
              <a:rPr lang="sv-SE" dirty="0"/>
            </a:br>
            <a:r>
              <a:rPr lang="sv-SE" sz="1800" dirty="0"/>
              <a:t>Huvudsakliga anledninga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2C22E5E-3E7A-CDEE-CCA2-D0DBA41A5C25}"/>
              </a:ext>
            </a:extLst>
          </p:cNvPr>
          <p:cNvSpPr/>
          <p:nvPr/>
        </p:nvSpPr>
        <p:spPr>
          <a:xfrm>
            <a:off x="676140" y="1893194"/>
            <a:ext cx="4629955" cy="3764923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4D9E83CF-B0F3-CCD5-3F7D-F901AEF38C48}"/>
              </a:ext>
            </a:extLst>
          </p:cNvPr>
          <p:cNvSpPr/>
          <p:nvPr/>
        </p:nvSpPr>
        <p:spPr>
          <a:xfrm>
            <a:off x="6166833" y="1893195"/>
            <a:ext cx="4629955" cy="3764922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39EBF600-0776-66AA-B388-71EBE28BCB10}"/>
              </a:ext>
            </a:extLst>
          </p:cNvPr>
          <p:cNvSpPr txBox="1"/>
          <p:nvPr/>
        </p:nvSpPr>
        <p:spPr>
          <a:xfrm>
            <a:off x="709593" y="2007794"/>
            <a:ext cx="45784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Epilepsivården i Sverige är ojämn och delvis ojämlik. Det finns nationella riktlinjer men följsamheten till dessa varierar och är svår att följa då heltäckande register med god täckningsgrad saknas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Patienterna beskriver utmaningar dels gällande bristande kunskap i det inledande skedet av vårdförloppet, dels tillgänglighetsproblem men också problem kring acceptans och att leva med sin diagnos. Vårdförloppet syftar till att förbättra alla dessa aspekter. 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DD642DE5-24AA-7956-293F-346851BA1CC8}"/>
              </a:ext>
            </a:extLst>
          </p:cNvPr>
          <p:cNvSpPr txBox="1"/>
          <p:nvPr/>
        </p:nvSpPr>
        <p:spPr>
          <a:xfrm>
            <a:off x="6211438" y="2007794"/>
            <a:ext cx="45483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effectLst/>
                <a:latin typeface="+mj-lt"/>
                <a:ea typeface="Cambria" panose="02040503050406030204" pitchFamily="18" charset="0"/>
                <a:cs typeface="Cambria" panose="02040503050406030204" pitchFamily="18" charset="0"/>
              </a:rPr>
              <a:t>En mer jämlik och effektiv epilepsivård eftersträvas genom en tydligt beskriven vårdprocess som inkluderar mätbara kvalitetsvariabler, tillgång till beslutstöd samt teamfokuserad verksamhet.</a:t>
            </a:r>
          </a:p>
        </p:txBody>
      </p:sp>
      <p:sp>
        <p:nvSpPr>
          <p:cNvPr id="3" name="textruta 4">
            <a:extLst>
              <a:ext uri="{FF2B5EF4-FFF2-40B4-BE49-F238E27FC236}">
                <a16:creationId xmlns:a16="http://schemas.microsoft.com/office/drawing/2014/main" id="{D2984492-42D4-42C2-41FA-414CDE4D1BAB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797887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989014" y="1422400"/>
            <a:ext cx="6704256" cy="4186238"/>
          </a:xfrm>
          <a:solidFill>
            <a:schemeClr val="bg1"/>
          </a:solidFill>
          <a:ln>
            <a:noFill/>
          </a:ln>
          <a:effectLst/>
        </p:spPr>
        <p:txBody>
          <a:bodyPr tIns="90000"/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pilepsivården i Sverige är ojämn och delvis ojämlik. Det finns nationella riktlinjer men följsamheten till dessa varierar och är svår att följa då heltäckande register med god täckningsgrad saknas. 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llgången till specialister variera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llgången till kompetenser för ett teamarbete varierar</a:t>
            </a:r>
          </a:p>
          <a:p>
            <a:endParaRPr lang="sv-SE" dirty="0"/>
          </a:p>
        </p:txBody>
      </p:sp>
      <p:pic>
        <p:nvPicPr>
          <p:cNvPr id="7" name="Bildobjekt 6" descr="En bild som visar text, vapen, missil&#10;&#10;Automatiskt genererad beskrivning">
            <a:extLst>
              <a:ext uri="{FF2B5EF4-FFF2-40B4-BE49-F238E27FC236}">
                <a16:creationId xmlns:a16="http://schemas.microsoft.com/office/drawing/2014/main" id="{21E63F1D-74B8-5546-EACF-80CB75DEB0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27048">
            <a:off x="8131074" y="627532"/>
            <a:ext cx="2368580" cy="5601372"/>
          </a:xfrm>
          <a:prstGeom prst="rect">
            <a:avLst/>
          </a:prstGeom>
        </p:spPr>
      </p:pic>
      <p:sp>
        <p:nvSpPr>
          <p:cNvPr id="2" name="textruta 4">
            <a:extLst>
              <a:ext uri="{FF2B5EF4-FFF2-40B4-BE49-F238E27FC236}">
                <a16:creationId xmlns:a16="http://schemas.microsoft.com/office/drawing/2014/main" id="{350618CA-C808-A592-53DF-8D7E50FC6FF3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4647" y="503336"/>
            <a:ext cx="6674187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4024648" y="1711937"/>
            <a:ext cx="7643612" cy="4247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Korrekt omhändertagande tidigt i processe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amordning mellan olika vårdnivå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eamarbetet och epilepsisjuksköterskans roll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latshållare för bild 11">
            <a:extLst>
              <a:ext uri="{FF2B5EF4-FFF2-40B4-BE49-F238E27FC236}">
                <a16:creationId xmlns:a16="http://schemas.microsoft.com/office/drawing/2014/main" id="{5852291C-25C4-8F7C-47FC-89CBDED7183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08" r="23595"/>
          <a:stretch/>
        </p:blipFill>
        <p:spPr>
          <a:xfrm>
            <a:off x="0" y="0"/>
            <a:ext cx="3522715" cy="6658377"/>
          </a:xfrm>
          <a:prstGeom prst="rect">
            <a:avLst/>
          </a:prstGeom>
        </p:spPr>
      </p:pic>
      <p:sp>
        <p:nvSpPr>
          <p:cNvPr id="2" name="textruta 4">
            <a:extLst>
              <a:ext uri="{FF2B5EF4-FFF2-40B4-BE49-F238E27FC236}">
                <a16:creationId xmlns:a16="http://schemas.microsoft.com/office/drawing/2014/main" id="{2AC076EE-DBB8-4F64-FAD1-0B8B661EA212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</a:extLst>
          </p:cNvPr>
          <p:cNvSpPr/>
          <p:nvPr/>
        </p:nvSpPr>
        <p:spPr>
          <a:xfrm>
            <a:off x="1106557" y="1700032"/>
            <a:ext cx="9305925" cy="3864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Korrekt akut omhändertagande vid epileptiska anfall och snabb tid från insjuknande till utredning och behandling inom specialiserad vård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Utredning med MRT och EEG när indikation finns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Remittering till avancerad utredning vid farmakologiskt terapiresistent epilepsi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Patientens säkerhet, delaktighet och inflytande säkerställs genom stadigvarande kontakt med epilepsisjuksköterska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Uppföljning och kontinuitet med epilepsiteam samt i vissa fall primärvård i såväl region som kommun och habilitering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Korrekt handläggning för kvinnor i fertil ålder som är eller önskar bli gravida</a:t>
            </a:r>
          </a:p>
          <a:p>
            <a:pPr marL="180000" lvl="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Att psykosociala och psykiatriska problem samt behov av neuropsykologisk utredning för patienter med misstänkta kognitiva svårigheter identifieras och att vidare hänvisning till aktuell vårdinstans s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8061" y="638333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grpSp>
        <p:nvGrpSpPr>
          <p:cNvPr id="2" name="Grupp 1">
            <a:extLst>
              <a:ext uri="{FF2B5EF4-FFF2-40B4-BE49-F238E27FC236}">
                <a16:creationId xmlns:a16="http://schemas.microsoft.com/office/drawing/2014/main" id="{F845F0F7-FC34-B3EE-3A7B-5682098CCE68}"/>
              </a:ext>
            </a:extLst>
          </p:cNvPr>
          <p:cNvGrpSpPr/>
          <p:nvPr/>
        </p:nvGrpSpPr>
        <p:grpSpPr>
          <a:xfrm>
            <a:off x="5333626" y="608829"/>
            <a:ext cx="2432335" cy="827165"/>
            <a:chOff x="5398020" y="409577"/>
            <a:chExt cx="2323667" cy="668799"/>
          </a:xfrm>
        </p:grpSpPr>
        <p:pic>
          <p:nvPicPr>
            <p:cNvPr id="5" name="Bildobjekt 4" descr="En bild som visar text, clipart&#10;&#10;Automatiskt genererad beskrivning">
              <a:extLst>
                <a:ext uri="{FF2B5EF4-FFF2-40B4-BE49-F238E27FC236}">
                  <a16:creationId xmlns:a16="http://schemas.microsoft.com/office/drawing/2014/main" id="{3E2F728B-FB05-CC7E-6FC0-0D9BA3D715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4"/>
            <a:stretch/>
          </p:blipFill>
          <p:spPr>
            <a:xfrm rot="3982433">
              <a:off x="6819702" y="176391"/>
              <a:ext cx="593318" cy="1210652"/>
            </a:xfrm>
            <a:prstGeom prst="rect">
              <a:avLst/>
            </a:prstGeom>
          </p:spPr>
        </p:pic>
        <p:pic>
          <p:nvPicPr>
            <p:cNvPr id="11" name="Bildobjekt 10" descr="En bild som visar text, clipart&#10;&#10;Automatiskt genererad beskrivning">
              <a:extLst>
                <a:ext uri="{FF2B5EF4-FFF2-40B4-BE49-F238E27FC236}">
                  <a16:creationId xmlns:a16="http://schemas.microsoft.com/office/drawing/2014/main" id="{16D0946B-9E59-0F8B-CE3E-204508CFC9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4"/>
            <a:stretch/>
          </p:blipFill>
          <p:spPr>
            <a:xfrm rot="18103221" flipH="1">
              <a:off x="5702559" y="105038"/>
              <a:ext cx="601574" cy="1210652"/>
            </a:xfrm>
            <a:prstGeom prst="rect">
              <a:avLst/>
            </a:prstGeom>
          </p:spPr>
        </p:pic>
      </p:grpSp>
      <p:sp>
        <p:nvSpPr>
          <p:cNvPr id="4" name="textruta 4">
            <a:extLst>
              <a:ext uri="{FF2B5EF4-FFF2-40B4-BE49-F238E27FC236}">
                <a16:creationId xmlns:a16="http://schemas.microsoft.com/office/drawing/2014/main" id="{69785DF8-E45C-9E6F-0453-D9800C664306}"/>
              </a:ext>
            </a:extLst>
          </p:cNvPr>
          <p:cNvSpPr txBox="1"/>
          <p:nvPr/>
        </p:nvSpPr>
        <p:spPr>
          <a:xfrm>
            <a:off x="10539072" y="83492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årdförlopp Epilepsi</a:t>
            </a:r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59A5C9F7-2B6E-45E4-A003-4148642CEFC8}" vid="{16E4A10F-04EE-4DF3-8329-E5C69F91EDE7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59A5C9F7-2B6E-45E4-A003-4148642CEFC8}" vid="{A49B5181-377E-4FCA-BF37-A1AE9A74FBD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834A045EA19F4FA7D09B49F22071FD" ma:contentTypeVersion="2" ma:contentTypeDescription="Create a new document." ma:contentTypeScope="" ma:versionID="a2a5866f1427024a2e562e45ed8dbe9d">
  <xsd:schema xmlns:xsd="http://www.w3.org/2001/XMLSchema" xmlns:xs="http://www.w3.org/2001/XMLSchema" xmlns:p="http://schemas.microsoft.com/office/2006/metadata/properties" xmlns:ns2="91a51955-e0f2-46a1-a4fe-2819e2857af0" targetNamespace="http://schemas.microsoft.com/office/2006/metadata/properties" ma:root="true" ma:fieldsID="ec994fab9acded7de300dbad652e5921" ns2:_="">
    <xsd:import namespace="91a51955-e0f2-46a1-a4fe-2819e2857a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a51955-e0f2-46a1-a4fe-2819e2857a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838263-E1C9-4E5B-82EB-4EFA5F423BC8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91a51955-e0f2-46a1-a4fe-2819e2857af0"/>
    <ds:schemaRef ds:uri="http://www.w3.org/XML/1998/namespace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FF3AA6D-41C9-4BD7-96F9-05BD668C36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a51955-e0f2-46a1-a4fe-2819e2857a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0CB9E7B-C758-4FCE-B64B-53CDE07E75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Mall_Perscentr o sammanh vårdförlopp (002)</Template>
  <TotalTime>17</TotalTime>
  <Words>1831</Words>
  <Application>Microsoft Office PowerPoint</Application>
  <PresentationFormat>Widescreen</PresentationFormat>
  <Paragraphs>271</Paragraphs>
  <Slides>2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Times New Roman</vt:lpstr>
      <vt:lpstr>Tema_sveriges_regioner_i_samverkan</vt:lpstr>
      <vt:lpstr>1_Tema_sveriges_regioner_i_samverkan</vt:lpstr>
      <vt:lpstr>think-cell Slide</vt:lpstr>
      <vt:lpstr>PowerPoint Presentation</vt:lpstr>
      <vt:lpstr>Syftet med personcentrerade och sammanhållna vårdförlopp </vt:lpstr>
      <vt:lpstr>Regionerna i samverkan</vt:lpstr>
      <vt:lpstr>Om Epilepsi</vt:lpstr>
      <vt:lpstr>Vårdförloppets omfattning och huvudsakliga åtgärder</vt:lpstr>
      <vt:lpstr>Varför ett vårdförlopp? Huvudsakliga anledningar</vt:lpstr>
      <vt:lpstr>Nationell variation</vt:lpstr>
      <vt:lpstr>Vårdförloppet lägger tonvikt på</vt:lpstr>
      <vt:lpstr>Vårdförloppets mål</vt:lpstr>
      <vt:lpstr>Nulägesbeskrivning ur ett patientperspektiv</vt:lpstr>
      <vt:lpstr>Patientkontrakt</vt:lpstr>
      <vt:lpstr>Vårdförloppet utgår från tillförlitliga och aktuella kunskapsstöd och baseras på bästa tillgängliga kunskap</vt:lpstr>
      <vt:lpstr>Vårdförloppet innehåller flödesschema och åtgärder </vt:lpstr>
      <vt:lpstr>Vad kommer att följas upp (urval)</vt:lpstr>
      <vt:lpstr>Vad blir konsekvenserna?</vt:lpstr>
      <vt:lpstr>Personcentrerat och sammanhållet vårdförlopp för epilepsi</vt:lpstr>
      <vt:lpstr>Deltagare NAG Epilepsi (1/2)</vt:lpstr>
      <vt:lpstr>Deltagare NAG Epilepsi (2/2)</vt:lpstr>
      <vt:lpstr>Mer information och stöd</vt:lpstr>
      <vt:lpstr>PowerPoint Presentation</vt:lpstr>
      <vt:lpstr>Dialog 1 - gapanalys</vt:lpstr>
      <vt:lpstr>Dialog - införan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er [denna sida tas bort innan publicering]</dc:title>
  <dc:creator>Emma Säfwenberg</dc:creator>
  <cp:lastModifiedBy>Mikael Stenstrand</cp:lastModifiedBy>
  <cp:revision>6</cp:revision>
  <dcterms:created xsi:type="dcterms:W3CDTF">2022-09-12T12:39:22Z</dcterms:created>
  <dcterms:modified xsi:type="dcterms:W3CDTF">2022-10-21T11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834A045EA19F4FA7D09B49F22071FD</vt:lpwstr>
  </property>
</Properties>
</file>